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1782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866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BC37A5B-AA24-48FC-8BA5-912A48874084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4" r="1619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0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Niamh </a:t>
            </a:r>
            <a:r>
              <a:rPr lang="en-US" dirty="0" err="1">
                <a:solidFill>
                  <a:schemeClr val="accent6"/>
                </a:solidFill>
              </a:rPr>
              <a:t>Algar</a:t>
            </a:r>
            <a:r>
              <a:rPr lang="en-US" dirty="0">
                <a:solidFill>
                  <a:schemeClr val="accent6"/>
                </a:solidFill>
              </a:rPr>
              <a:t>, Michael Smiley, Nicholas Burn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Prano</a:t>
            </a:r>
            <a:r>
              <a:rPr lang="en-US" dirty="0">
                <a:solidFill>
                  <a:schemeClr val="accent6"/>
                </a:solidFill>
              </a:rPr>
              <a:t> Bailey-Bond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Saint Mau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Prano</a:t>
            </a:r>
            <a:r>
              <a:rPr lang="en-US" dirty="0">
                <a:solidFill>
                  <a:schemeClr val="accent6"/>
                </a:solidFill>
              </a:rPr>
              <a:t> Bailey-Bond’s lightly satirical feature debut made waves at the Sundance film festival and looks to establish her as a new icon of British horror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Index: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film censor working during the height of the video nasties scare of the 1980s investigates a filmmaker – the journey leads her on a strange and disturbing journey.</a:t>
            </a: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Censor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A new name in British horror emerges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428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9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Censor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Censor</dc:description>
  <cp:lastModifiedBy/>
  <cp:revision>1</cp:revision>
  <dcterms:created xsi:type="dcterms:W3CDTF">2019-03-25T11:13:20Z</dcterms:created>
  <dcterms:modified xsi:type="dcterms:W3CDTF">2021-07-07T10:43:5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Censor</vt:lpwstr>
  </property>
</Properties>
</file>